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8"/>
  </p:notesMasterIdLst>
  <p:sldIdLst>
    <p:sldId id="256" r:id="rId3"/>
    <p:sldId id="314" r:id="rId4"/>
    <p:sldId id="311" r:id="rId5"/>
    <p:sldId id="312" r:id="rId6"/>
    <p:sldId id="315" r:id="rId7"/>
    <p:sldId id="430" r:id="rId8"/>
    <p:sldId id="577" r:id="rId9"/>
    <p:sldId id="578" r:id="rId10"/>
    <p:sldId id="579" r:id="rId11"/>
    <p:sldId id="580" r:id="rId12"/>
    <p:sldId id="581" r:id="rId13"/>
    <p:sldId id="582" r:id="rId14"/>
    <p:sldId id="583" r:id="rId15"/>
    <p:sldId id="584" r:id="rId16"/>
    <p:sldId id="585" r:id="rId17"/>
    <p:sldId id="586" r:id="rId18"/>
    <p:sldId id="587" r:id="rId19"/>
    <p:sldId id="588" r:id="rId20"/>
    <p:sldId id="589" r:id="rId21"/>
    <p:sldId id="590" r:id="rId22"/>
    <p:sldId id="591" r:id="rId23"/>
    <p:sldId id="592" r:id="rId24"/>
    <p:sldId id="593" r:id="rId25"/>
    <p:sldId id="594" r:id="rId26"/>
    <p:sldId id="595" r:id="rId27"/>
    <p:sldId id="596" r:id="rId28"/>
    <p:sldId id="597" r:id="rId29"/>
    <p:sldId id="598" r:id="rId30"/>
    <p:sldId id="599" r:id="rId31"/>
    <p:sldId id="600" r:id="rId32"/>
    <p:sldId id="601" r:id="rId33"/>
    <p:sldId id="602" r:id="rId34"/>
    <p:sldId id="603" r:id="rId35"/>
    <p:sldId id="604" r:id="rId36"/>
    <p:sldId id="261" r:id="rId37"/>
  </p:sldIdLst>
  <p:sldSz cx="12192000" cy="6858000"/>
  <p:notesSz cx="6858000" cy="9144000"/>
  <p:custDataLst>
    <p:tags r:id="rId4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6" d="100"/>
          <a:sy n="86" d="100"/>
        </p:scale>
        <p:origin x="710" y="53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2" Type="http://schemas.openxmlformats.org/officeDocument/2006/relationships/tags" Target="tags/tag6.xml"/><Relationship Id="rId41" Type="http://schemas.openxmlformats.org/officeDocument/2006/relationships/tableStyles" Target="tableStyles.xml"/><Relationship Id="rId40" Type="http://schemas.openxmlformats.org/officeDocument/2006/relationships/viewProps" Target="viewProps.xml"/><Relationship Id="rId4" Type="http://schemas.openxmlformats.org/officeDocument/2006/relationships/slide" Target="slides/slide2.xml"/><Relationship Id="rId39" Type="http://schemas.openxmlformats.org/officeDocument/2006/relationships/presProps" Target="presProps.xml"/><Relationship Id="rId38" Type="http://schemas.openxmlformats.org/officeDocument/2006/relationships/notesMaster" Target="notesMasters/notesMaster1.xml"/><Relationship Id="rId37" Type="http://schemas.openxmlformats.org/officeDocument/2006/relationships/slide" Target="slides/slide35.xml"/><Relationship Id="rId36" Type="http://schemas.openxmlformats.org/officeDocument/2006/relationships/slide" Target="slides/slide34.xml"/><Relationship Id="rId35" Type="http://schemas.openxmlformats.org/officeDocument/2006/relationships/slide" Target="slides/slide33.xml"/><Relationship Id="rId34" Type="http://schemas.openxmlformats.org/officeDocument/2006/relationships/slide" Target="slides/slide32.xml"/><Relationship Id="rId33" Type="http://schemas.openxmlformats.org/officeDocument/2006/relationships/slide" Target="slides/slide31.xml"/><Relationship Id="rId32" Type="http://schemas.openxmlformats.org/officeDocument/2006/relationships/slide" Target="slides/slide30.xml"/><Relationship Id="rId31" Type="http://schemas.openxmlformats.org/officeDocument/2006/relationships/slide" Target="slides/slide29.xml"/><Relationship Id="rId30" Type="http://schemas.openxmlformats.org/officeDocument/2006/relationships/slide" Target="slides/slide28.xml"/><Relationship Id="rId3" Type="http://schemas.openxmlformats.org/officeDocument/2006/relationships/slide" Target="slides/slide1.xml"/><Relationship Id="rId29" Type="http://schemas.openxmlformats.org/officeDocument/2006/relationships/slide" Target="slides/slide27.xml"/><Relationship Id="rId28" Type="http://schemas.openxmlformats.org/officeDocument/2006/relationships/slide" Target="slides/slide26.xml"/><Relationship Id="rId27" Type="http://schemas.openxmlformats.org/officeDocument/2006/relationships/slide" Target="slides/slide25.xml"/><Relationship Id="rId26" Type="http://schemas.openxmlformats.org/officeDocument/2006/relationships/slide" Target="slides/slide24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5.jpeg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11.png"/><Relationship Id="rId1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13.png"/><Relationship Id="rId1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16.png"/><Relationship Id="rId1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18.png"/><Relationship Id="rId1" Type="http://schemas.openxmlformats.org/officeDocument/2006/relationships/image" Target="../media/image1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20.png"/><Relationship Id="rId1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5.jpeg"/><Relationship Id="rId1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28.png"/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35.png"/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39.png"/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image" Target="../media/image36.png"/></Relationships>
</file>

<file path=ppt/slides/_rels/slide24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42.png"/><Relationship Id="rId3" Type="http://schemas.openxmlformats.org/officeDocument/2006/relationships/image" Target="../media/image41.png"/><Relationship Id="rId2" Type="http://schemas.openxmlformats.org/officeDocument/2006/relationships/hyperlink" Target="http://127.0.0.1:8080/redis/setAndGet2?name=db&amp;value=redis" TargetMode="External"/><Relationship Id="rId1" Type="http://schemas.openxmlformats.org/officeDocument/2006/relationships/image" Target="../media/image40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3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4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5.png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5.jpeg"/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tags" Target="../tags/tag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47.png"/><Relationship Id="rId1" Type="http://schemas.openxmlformats.org/officeDocument/2006/relationships/image" Target="../media/image4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49.png"/><Relationship Id="rId1" Type="http://schemas.openxmlformats.org/officeDocument/2006/relationships/image" Target="../media/image48.png"/></Relationships>
</file>

<file path=ppt/slides/_rels/slide3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image" Target="../media/image5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54.png"/><Relationship Id="rId1" Type="http://schemas.openxmlformats.org/officeDocument/2006/relationships/image" Target="../media/image53.png"/></Relationships>
</file>

<file path=ppt/slides/_rels/slide3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image" Target="../media/image55.png"/></Relationships>
</file>

<file path=ppt/slides/_rels/slide3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6.xml"/><Relationship Id="rId3" Type="http://schemas.openxmlformats.org/officeDocument/2006/relationships/image" Target="../media/image5.jpeg"/><Relationship Id="rId2" Type="http://schemas.openxmlformats.org/officeDocument/2006/relationships/image" Target="../media/image2.png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2.png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8.png"/><Relationship Id="rId1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  <a:endParaRPr lang="en-US" altLang="zh-CN" b="1" dirty="0">
              <a:solidFill>
                <a:schemeClr val="tx1"/>
              </a:solidFill>
            </a:endParaRP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  <a:endParaRPr lang="en-US" altLang="zh-CN" dirty="0">
              <a:solidFill>
                <a:srgbClr val="0000FF"/>
              </a:solidFill>
              <a:latin typeface="Times New Roman" panose="02020603050405020304" charset="0"/>
              <a:ea typeface="微软雅黑" panose="020B0503020204020204" pitchFamily="34" charset="-122"/>
              <a:cs typeface="+mn-ea"/>
              <a:sym typeface="Times New Roman" panose="02020603050405020304" charset="0"/>
            </a:endParaRP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  <a:endParaRPr lang="en-US" altLang="zh-CN" dirty="0">
              <a:solidFill>
                <a:srgbClr val="0000FF"/>
              </a:solidFill>
              <a:latin typeface="Times New Roman" panose="02020603050405020304" charset="0"/>
              <a:ea typeface="微软雅黑" panose="020B0503020204020204" pitchFamily="34" charset="-122"/>
              <a:cs typeface="+mn-ea"/>
              <a:sym typeface="Times New Roman" panose="02020603050405020304" charset="0"/>
            </a:endParaRP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  <a:endParaRPr lang="en-US" altLang="zh-CN" dirty="0">
              <a:solidFill>
                <a:srgbClr val="0000FF"/>
              </a:solidFill>
              <a:latin typeface="Times New Roman" panose="02020603050405020304" charset="0"/>
              <a:ea typeface="微软雅黑" panose="020B0503020204020204" pitchFamily="34" charset="-122"/>
              <a:cs typeface="+mn-ea"/>
              <a:sym typeface="Times New Roman" panose="02020603050405020304" charset="0"/>
            </a:endParaRP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  <a:endParaRPr lang="en-US" altLang="zh-CN" dirty="0">
              <a:solidFill>
                <a:srgbClr val="0000FF"/>
              </a:solidFill>
              <a:latin typeface="Times New Roman" panose="02020603050405020304" charset="0"/>
              <a:ea typeface="微软雅黑" panose="020B0503020204020204" pitchFamily="34" charset="-122"/>
              <a:cs typeface="+mn-ea"/>
              <a:sym typeface="Times New Roman" panose="02020603050405020304" charset="0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8836" y="1020305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669925" y="1144270"/>
            <a:ext cx="10705465" cy="119888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本书主要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ntellij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DE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进行实验，把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bootDemo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.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zip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进行解压缩到本地硬盘，然后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ellij IDE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导入工程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Fil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-&gt; open -&gt;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选择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bootDemo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在本地硬盘路径，如果是第一次配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 Boot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话可能需要等待一会儿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DEA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下载相应的依赖包，默认创建好的项目结构如下图所示。本案例文件名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\Chapter0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8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\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bootDemo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31" name="图片 3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09015" y="2764473"/>
            <a:ext cx="4413250" cy="226504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5606415" y="2466340"/>
            <a:ext cx="5908675" cy="286131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bootDemo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项目结构很清晰，相比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ava E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少了很多配置文件，默认生成的文件主要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4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个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1  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SpringbootDemoApplication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.java 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：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一个带有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in()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方法的类，用于启动应用程序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2  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SpringbootDemoApplicationTests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.java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一个空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unit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测试类，它加载了一个使用。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 Boot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字典配置功能的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应用程序上下文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3  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application.properties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一个空的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roperties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，可以根据需要添加配置属性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4  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pom.xml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构建项目的说明文件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69925" y="1112520"/>
            <a:ext cx="10660380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传统基于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va Web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应用需要配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web.xml,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讲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w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b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应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打成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w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放入应用服务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(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omcat,Weblogic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)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运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如果基于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ing B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开发为服务，将变得简单，只需要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om.xm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引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-boot-starter-web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开发依赖模块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77595" y="2034540"/>
            <a:ext cx="5419725" cy="704850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1077595" y="2860675"/>
            <a:ext cx="7388225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pom.xm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中默认有两个模块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1  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spring-boot-starter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核心模块，包括自动配置支持、日志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YAM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；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2  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spring-boot-starter-test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测试模块，包括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Uni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、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Hamcres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、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ockito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669925" y="3903980"/>
            <a:ext cx="1020064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本案例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SpringbootDemoApplication.jav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bootDemoApplicat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 B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的入口类，它的关键源代码如下：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3905" y="4549140"/>
            <a:ext cx="5410200" cy="1190625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497320" y="4441507"/>
            <a:ext cx="5080000" cy="175323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其中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@SpringBootApplicat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注解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B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启动项目时需要加上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。需要说明的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bootDemoApplicat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是整个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ring B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应用启动的初始点，因此如果在应用启动格式需要进行某些资源初始化处理，那么最好都在该类完成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669925" y="1025525"/>
            <a:ext cx="1083881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双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bootDemoApplicat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在代码区域鼠标右键运行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u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‘Spring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boo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DemoApplic…’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 启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ring B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应用，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15" name="图片 11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9925" y="1670685"/>
            <a:ext cx="5274310" cy="233172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6047740" y="3933825"/>
            <a:ext cx="457581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我们可以看到后台日志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DE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控制台打印出如下内容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03" name="图片 10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47740" y="4578668"/>
            <a:ext cx="5274310" cy="1420495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69925" y="1067435"/>
            <a:ext cx="10738485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从上图的输出可以看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Tomca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服务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默认开启了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8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080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端口，要访问这个应用提供的服务，可以在浏览器的地址栏中输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http://localhost:8080/ ,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我们在项目中没有手动的去配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omcat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服务器，是因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 Boot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内置了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omca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服务器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69925" y="1989455"/>
            <a:ext cx="10738485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如果要把应用部署到服务器上，还需要对项目进行发布，通过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vn package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对整个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ring Boot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进行项目编译，单元测试和打包，然后运行打包后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。我们切换到项目所在的目录然后运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vn package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，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36" name="图片 13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08418" y="2911158"/>
            <a:ext cx="4980305" cy="2489835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669925" y="1103630"/>
            <a:ext cx="1084008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打包成功后，在工程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rge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目录中会生成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bootDemo-0.0.1-SNAPSHOT.j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38" name="图片 13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9925" y="1471613"/>
            <a:ext cx="5274310" cy="1848485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669925" y="3479800"/>
            <a:ext cx="1067117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命令行窗口切换到项目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rge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目录中，运行如下命令就可以启动应用，这样应用就发布成功了。启动的效果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25" name="图片 12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5" y="4284028"/>
            <a:ext cx="5274310" cy="126047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2021205" y="5544820"/>
            <a:ext cx="2850515" cy="3067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zh-CN" sz="1400" b="0">
                <a:ea typeface="宋体" panose="02010600030101010101" pitchFamily="2" charset="-122"/>
              </a:rPr>
              <a:t>通过命令行启动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SpringBoot</a:t>
            </a:r>
            <a:r>
              <a:rPr lang="zh-CN" sz="1400" b="0">
                <a:ea typeface="宋体" panose="02010600030101010101" pitchFamily="2" charset="-122"/>
              </a:rPr>
              <a:t>应用</a:t>
            </a:r>
            <a:endParaRPr lang="zh-CN" altLang="en-US" sz="1400" b="0">
              <a:ea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69925" y="1064260"/>
            <a:ext cx="302895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Spring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B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结合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实战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69925" y="1432560"/>
            <a:ext cx="999871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上一节讲了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B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基本框架的搭建，本节讲解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B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结合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基础使用，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669925" y="1800860"/>
            <a:ext cx="454215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首先，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中引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om.xm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依赖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29310" y="2169160"/>
            <a:ext cx="5400675" cy="704850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69925" y="2874010"/>
            <a:ext cx="7231380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J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封装了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ring Boot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与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连接工具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	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其次，编写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Templat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类对象，设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ConnectFactory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参数。本案例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RedisConfig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.jav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，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210" y="3796030"/>
            <a:ext cx="5438775" cy="3133725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669925" y="1104265"/>
            <a:ext cx="864362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@Configuration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指明当前类是一个配置类，就是来代替当前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配置文件。编写控制器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Controller.jav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本案例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Controlle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.jav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，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00100" y="1749425"/>
            <a:ext cx="5391150" cy="70485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100" y="2454275"/>
            <a:ext cx="5429250" cy="2628900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6391275" y="2345055"/>
            <a:ext cx="5247640" cy="216852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@Resourc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注解默认按照名称进行装配，名称可以通过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nam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属性进行指定，如果没有指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nam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属性，当注解写在字段上时，默认取字段名按照名称进行查找。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Controlle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类中引入一个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b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a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名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Templat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69925" y="1137920"/>
            <a:ext cx="1072769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再次，引入配置文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application.propertie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bootDemo\src\main\resource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新建配置文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application.propertie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65200" y="1783080"/>
            <a:ext cx="2619375" cy="195262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669925" y="3841750"/>
            <a:ext cx="10883900" cy="119888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最后，启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bootDemoApplication.jav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访问控制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Controlle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对外提供的服务。在浏览器中访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http://127.0.0.1:8080/redis/setAndGet?name=username&amp;value=xinping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访问这个请求地址后把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user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m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作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k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y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xinpi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g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作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v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lu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保存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，并把这个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k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y-valu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作为结果返回到前台页面，返回的结果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S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格式的数据，如下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5200" y="5040630"/>
            <a:ext cx="2428875" cy="561975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69925" y="5690870"/>
            <a:ext cx="513524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浏览器中访问这个请求后的结果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48" name="图片 14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5" y="6059170"/>
            <a:ext cx="5274310" cy="65405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6317615" y="5276850"/>
            <a:ext cx="5080000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从以上结果可以看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u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rnam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作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k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y,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x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nping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作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v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lu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已经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k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y-valu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（键值存储）的形式存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了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Template API详解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669925" y="1165860"/>
            <a:ext cx="10738485" cy="341503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R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5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种不同的数据结构类型，这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5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种数据结构类型分别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tring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（字符串）、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is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（列表）、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（集合）、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Hash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（散列）和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Zse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（有序集合）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Spring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封装了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Templat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对象，来进行对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5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种数据结构操作，它支持所有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原生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PI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1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Template.opsForValue();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操作字符串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2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Template.opsForHash();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操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hash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3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Template.opsForList();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操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is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	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4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Template.opsForSet();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操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	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5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Template.opsForZSet();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操作有序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	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6723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Template API详解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69925" y="1078865"/>
            <a:ext cx="10681970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编写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Servic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类，通过注解的方式调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Templat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类对象，来操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5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种基本数据类型，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Servic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类上面使用了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@Servic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注解用于标注业务层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Servic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类自动注入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容器中。本案例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Servic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.jav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，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79855" y="2028825"/>
            <a:ext cx="5419725" cy="2800350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669925" y="4857115"/>
            <a:ext cx="874395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然后就可以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Servic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类里添加具体操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业务逻辑了，对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5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种基本数据类型的添加和获取操作进行了封装，在本节将详细介绍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	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620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推荐教材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4651235" y="1114767"/>
            <a:ext cx="7017023" cy="315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Aft>
                <a:spcPts val="600"/>
              </a:spcAft>
            </a:pPr>
            <a:r>
              <a:rPr lang="zh-CN" altLang="en-US" sz="2800" dirty="0" smtClean="0">
                <a:solidFill>
                  <a:srgbClr val="0000FF"/>
                </a:solidFill>
              </a:rPr>
              <a:t>《</a:t>
            </a:r>
            <a:r>
              <a:rPr lang="en-US" altLang="zh-CN" sz="2800" dirty="0" err="1">
                <a:solidFill>
                  <a:srgbClr val="0000FF"/>
                </a:solidFill>
              </a:rPr>
              <a:t>Redis</a:t>
            </a:r>
            <a:r>
              <a:rPr lang="en-US" altLang="zh-CN" sz="2800" dirty="0">
                <a:solidFill>
                  <a:srgbClr val="0000FF"/>
                </a:solidFill>
              </a:rPr>
              <a:t> 6 </a:t>
            </a:r>
            <a:r>
              <a:rPr lang="zh-CN" altLang="en-US" sz="2800" dirty="0">
                <a:solidFill>
                  <a:srgbClr val="0000FF"/>
                </a:solidFill>
              </a:rPr>
              <a:t>开发与</a:t>
            </a:r>
            <a:r>
              <a:rPr lang="zh-CN" altLang="en-US" sz="2800" dirty="0" smtClean="0">
                <a:solidFill>
                  <a:srgbClr val="0000FF"/>
                </a:solidFill>
              </a:rPr>
              <a:t>实战 </a:t>
            </a:r>
            <a:r>
              <a:rPr lang="zh-CN" altLang="en-US" sz="2800" dirty="0" smtClean="0">
                <a:solidFill>
                  <a:srgbClr val="0000FF"/>
                </a:solidFill>
              </a:rPr>
              <a:t>》</a:t>
            </a:r>
            <a:endParaRPr lang="zh-CN" altLang="en-US" sz="2800" dirty="0">
              <a:solidFill>
                <a:srgbClr val="0000FF"/>
              </a:solidFill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作者</a:t>
            </a:r>
            <a:r>
              <a:rPr lang="zh-CN" altLang="en-US" sz="2400" dirty="0" smtClean="0"/>
              <a:t>：</a:t>
            </a:r>
            <a:r>
              <a:rPr lang="zh-CN" altLang="en-US" sz="2400" dirty="0" smtClean="0"/>
              <a:t>张云河</a:t>
            </a:r>
            <a:r>
              <a:rPr lang="zh-CN" altLang="en-US" sz="2400" dirty="0" smtClean="0">
                <a:sym typeface="+mn-ea"/>
              </a:rPr>
              <a:t>、王硕</a:t>
            </a:r>
            <a:endParaRPr lang="zh-CN" altLang="en-US" sz="2400" dirty="0">
              <a:sym typeface="+mn-ea"/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出版：人民邮电出版社</a:t>
            </a:r>
            <a:endParaRPr lang="zh-CN" altLang="en-US" sz="2400" dirty="0">
              <a:sym typeface="+mn-ea"/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配套</a:t>
            </a:r>
            <a:r>
              <a:rPr lang="zh-CN" altLang="en-US" sz="2400" dirty="0" smtClean="0">
                <a:sym typeface="+mn-ea"/>
              </a:rPr>
              <a:t>：</a:t>
            </a:r>
            <a:r>
              <a:rPr lang="en-US" altLang="zh-CN" sz="2400" dirty="0" smtClean="0">
                <a:sym typeface="+mn-ea"/>
              </a:rPr>
              <a:t>PPT+</a:t>
            </a:r>
            <a:r>
              <a:rPr lang="zh-CN" altLang="en-US" sz="2400" dirty="0">
                <a:sym typeface="+mn-ea"/>
              </a:rPr>
              <a:t>实验指导</a:t>
            </a:r>
            <a:endParaRPr lang="zh-CN" altLang="en-US" sz="2400" dirty="0">
              <a:sym typeface="+mn-ea"/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特点</a:t>
            </a:r>
            <a:r>
              <a:rPr lang="zh-CN" altLang="en-US" sz="2400" dirty="0" smtClean="0"/>
              <a:t>：</a:t>
            </a:r>
            <a:r>
              <a:rPr lang="zh-CN" altLang="en-US" sz="2400" dirty="0" smtClean="0">
                <a:solidFill>
                  <a:srgbClr val="FF0000"/>
                </a:solidFill>
              </a:rPr>
              <a:t>覆盖</a:t>
            </a:r>
            <a:r>
              <a:rPr lang="en-US" altLang="zh-CN" sz="2400" dirty="0" err="1" smtClean="0">
                <a:solidFill>
                  <a:srgbClr val="FF0000"/>
                </a:solidFill>
              </a:rPr>
              <a:t>Redis</a:t>
            </a:r>
            <a:r>
              <a:rPr lang="en-US" altLang="zh-CN" sz="2400" dirty="0" smtClean="0">
                <a:solidFill>
                  <a:srgbClr val="FF0000"/>
                </a:solidFill>
              </a:rPr>
              <a:t> 6</a:t>
            </a:r>
            <a:r>
              <a:rPr lang="zh-CN" altLang="en-US" sz="2400" dirty="0" smtClean="0">
                <a:solidFill>
                  <a:srgbClr val="FF0000"/>
                </a:solidFill>
              </a:rPr>
              <a:t>版本的绝大部分核心特性</a:t>
            </a:r>
            <a:r>
              <a:rPr lang="zh-CN" altLang="en-US" sz="2400" dirty="0" smtClean="0"/>
              <a:t>，面向初学者的行文分格，加上大量的辅助图片等</a:t>
            </a:r>
            <a:r>
              <a:rPr lang="zh-CN" altLang="en-US" sz="2400" dirty="0"/>
              <a:t>。</a:t>
            </a:r>
            <a:endParaRPr lang="zh-CN" altLang="en-US" sz="2400" dirty="0"/>
          </a:p>
        </p:txBody>
      </p:sp>
      <p:sp>
        <p:nvSpPr>
          <p:cNvPr id="12" name="任意多边形: 形状 11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1762491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Template API详解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669925" y="1184910"/>
            <a:ext cx="281749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800" dirty="0">
                <a:solidFill>
                  <a:schemeClr val="tx1"/>
                </a:solidFill>
                <a:sym typeface="+mn-ea"/>
              </a:rPr>
              <a:t>写入和读取缓存</a:t>
            </a:r>
            <a:endParaRPr lang="zh-CN" altLang="en-US" sz="2800" dirty="0">
              <a:solidFill>
                <a:schemeClr val="tx1"/>
              </a:solidFill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669925" y="1706880"/>
            <a:ext cx="543814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Servic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类里封装写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id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缓存的业务逻辑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88340" y="2075180"/>
            <a:ext cx="5419725" cy="164782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7865" y="3723005"/>
            <a:ext cx="5410200" cy="400050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547485" y="1123315"/>
            <a:ext cx="519239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其中封装写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缓存设置时效时间的业务逻辑的具体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7485" y="1768475"/>
            <a:ext cx="5448300" cy="2171700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6547485" y="3940175"/>
            <a:ext cx="527050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其中封装批量删除对应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valu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业务逻辑的具体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47485" y="4512945"/>
            <a:ext cx="5429250" cy="857250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Template API详解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69925" y="1083945"/>
            <a:ext cx="561848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其中封装删除对应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valu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业务逻辑的具体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9925" y="1452245"/>
            <a:ext cx="5410200" cy="866775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669925" y="2319020"/>
            <a:ext cx="710819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其中封装判断缓存中是否有对应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valu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业务逻辑的具体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5" y="2687320"/>
            <a:ext cx="5438775" cy="561975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669925" y="3249295"/>
            <a:ext cx="510222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其中封装读取缓存的业务逻辑的具体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5" y="3617595"/>
            <a:ext cx="5400675" cy="1200150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Template API详解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356235" y="1196340"/>
            <a:ext cx="3545205" cy="52197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zh-CN" altLang="en-US" sz="2800" dirty="0">
                <a:solidFill>
                  <a:schemeClr val="tx1"/>
                </a:solidFill>
                <a:sym typeface="+mn-ea"/>
              </a:rPr>
              <a:t>添加和获取哈希数据</a:t>
            </a:r>
            <a:endParaRPr lang="zh-CN" altLang="en-US" sz="2800" dirty="0">
              <a:solidFill>
                <a:schemeClr val="tx1"/>
              </a:solidFill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356235" y="1718310"/>
            <a:ext cx="539432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Servic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类里封装添加哈希数据的业务逻辑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34340" y="2086610"/>
            <a:ext cx="5429250" cy="85725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434340" y="3312160"/>
            <a:ext cx="537083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其中封装获取哈希数据的业务逻辑的具体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340" y="3680460"/>
            <a:ext cx="5429250" cy="857250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256655" y="1196340"/>
            <a:ext cx="3545205" cy="52197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zh-CN" altLang="en-US" sz="2800" dirty="0">
                <a:solidFill>
                  <a:schemeClr val="tx1"/>
                </a:solidFill>
                <a:sym typeface="+mn-ea"/>
              </a:rPr>
              <a:t>添加和获取列表数据</a:t>
            </a:r>
            <a:endParaRPr lang="zh-CN" altLang="en-US" sz="2800" dirty="0">
              <a:solidFill>
                <a:schemeClr val="tx1"/>
              </a:solidFill>
              <a:sym typeface="+mn-ea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6256655" y="1718310"/>
            <a:ext cx="532638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Servic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类里封装添加列表数据的业务逻辑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655" y="2162810"/>
            <a:ext cx="5429250" cy="704850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6207125" y="3312160"/>
            <a:ext cx="552831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其中封装获取列表数据的业务逻辑的具体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6185" y="3680460"/>
            <a:ext cx="5429250" cy="704850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Template API详解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440690" y="1083945"/>
            <a:ext cx="3477895" cy="52197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zh-CN" altLang="en-US" sz="2800" dirty="0">
                <a:sym typeface="+mn-ea"/>
              </a:rPr>
              <a:t>添加和获取集合数据</a:t>
            </a:r>
            <a:endParaRPr lang="zh-CN" altLang="en-US" sz="2800" dirty="0"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40690" y="1605915"/>
            <a:ext cx="532638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Servic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类里封装添加集合数据的业务逻辑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40690" y="1974215"/>
            <a:ext cx="5419725" cy="704850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440690" y="2979420"/>
            <a:ext cx="524700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其中封装获取集合数据的业务逻辑的具体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740" y="3347720"/>
            <a:ext cx="5400675" cy="695325"/>
          </a:xfrm>
          <a:prstGeom prst="rect">
            <a:avLst/>
          </a:prstGeom>
        </p:spPr>
      </p:pic>
      <p:sp>
        <p:nvSpPr>
          <p:cNvPr id="15" name="矩形 14"/>
          <p:cNvSpPr/>
          <p:nvPr/>
        </p:nvSpPr>
        <p:spPr>
          <a:xfrm>
            <a:off x="6649085" y="1083945"/>
            <a:ext cx="4105910" cy="52197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zh-CN" altLang="en-US" sz="2800" dirty="0">
                <a:sym typeface="+mn-ea"/>
              </a:rPr>
              <a:t>添加和获取有序集合数据</a:t>
            </a:r>
            <a:endParaRPr lang="zh-CN" altLang="en-US" sz="2800" dirty="0">
              <a:sym typeface="+mn-ea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6458585" y="1605915"/>
            <a:ext cx="518160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Servic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类里封装添加有序集合业务逻辑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8585" y="1974215"/>
            <a:ext cx="5410200" cy="695325"/>
          </a:xfrm>
          <a:prstGeom prst="rect">
            <a:avLst/>
          </a:prstGeom>
        </p:spPr>
      </p:pic>
      <p:sp>
        <p:nvSpPr>
          <p:cNvPr id="19" name="矩形 18"/>
          <p:cNvSpPr/>
          <p:nvPr/>
        </p:nvSpPr>
        <p:spPr>
          <a:xfrm>
            <a:off x="6372860" y="3037840"/>
            <a:ext cx="581914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其中封装获取有序集合数据的业务逻辑的具体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8585" y="3406140"/>
            <a:ext cx="5429250" cy="876300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Template API详解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440690" y="1083945"/>
            <a:ext cx="2066290" cy="52197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zh-CN" altLang="en-US" sz="2800" dirty="0">
                <a:sym typeface="+mn-ea"/>
              </a:rPr>
              <a:t>优化控制器</a:t>
            </a:r>
            <a:endParaRPr lang="zh-CN" altLang="en-US" sz="2800" dirty="0"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440690" y="1605915"/>
            <a:ext cx="4473575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封装好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Servic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业务类后就可以对控制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Controlle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进行优化了，如下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72515" y="2371725"/>
            <a:ext cx="3498215" cy="428498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5407660" y="1172845"/>
            <a:ext cx="5561330" cy="119888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然后启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bootDemoApplication.jav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应用类，通过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rvice.get()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方法获得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缓存中的数据，访问</a:t>
            </a:r>
            <a:r>
              <a:rPr lang="en-US" altLang="zh-CN" dirty="0">
                <a:solidFill>
                  <a:srgbClr val="002060"/>
                </a:solidFill>
                <a:sym typeface="+mn-ea"/>
                <a:hlinkClick r:id="rId2"/>
              </a:rPr>
              <a:t>http://127.0.0.1:8080/redis/setAndGet2?name=db&amp;value=r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返回消息为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1205" y="2371725"/>
            <a:ext cx="1762125" cy="552450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5831205" y="3022600"/>
            <a:ext cx="135826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如下图所示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1293" name="图片 1129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39435" y="3489325"/>
            <a:ext cx="5097780" cy="609600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5407660" y="4789170"/>
            <a:ext cx="5080000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本节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Servic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类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Template API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操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5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种基本数据类型，对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5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种基本数据类型的操作进行了封装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8.3Spring Boot集成 Spring Session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473710" y="1079500"/>
            <a:ext cx="11040110" cy="216852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传统Session的问题，在于Session是由Web容器管理的，即一个session只保存在一台机器上，适合于单体应用，随着架构的演练，不断的向微服务分布式集群演进，传统的Session在集群环境下就不能正常工作了。比如：现在有3台Web服务器，客户端访问服务器通过负载均衡Nginx负载到某一台服务器上，用户此次的数据就保存到这台服务器的Web容器中了，当用户下次请求如果被负载到其它机器上，那么就拿不到之前保存的数据了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473710" y="3427730"/>
            <a:ext cx="11039475" cy="175323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这时候就需要整个服务器集群共享同一个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ss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为了解决所有服务器共享一套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ss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那么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ss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就不能单独保存在自己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Web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容器中，而是保存在一个公共的会话仓库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(Session Repository)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，所有服务器都访问同一个仓库，这样所有服务器的状态都一致了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 Sess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支持的仓库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id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、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ongoDB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、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DBC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本章例子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作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ss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仓库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8.3Spring Boot集成 Spring Session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69925" y="1134110"/>
            <a:ext cx="10671175" cy="299974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Spring Sess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有以下优点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1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 Sess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是基于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rvle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规范实现的一套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ss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管理框架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 Sess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主要解决了分布式场景下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ss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共享问题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 Sess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最核心的类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ssionRepositoryFilte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过滤器，用于包装用户的请求和响应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2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可在程序中直接替换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HttpSess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而无需修改一行代码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3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可以很方便的与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 Security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集成，增加诸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findSessionsByUserNam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memberM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限制同一个账号可以同时在线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ss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数（如设置成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1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即可达到把前一次登录顶掉的效果）等等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8.3Spring Boot集成 Spring Session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69925" y="1134110"/>
            <a:ext cx="2603500" cy="55308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2000" dirty="0">
                <a:solidFill>
                  <a:srgbClr val="002060"/>
                </a:solidFill>
                <a:sym typeface="+mn-ea"/>
              </a:rPr>
              <a:t>配置Spring Boot项目</a:t>
            </a:r>
            <a:endParaRPr lang="en-US" altLang="zh-CN" sz="2000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669925" y="1619250"/>
            <a:ext cx="1014412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https://start.spring.io/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创建一个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ring B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ringSessionDemo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DE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导入项目。本案例文件名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\Chapter0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8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\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SessionDemo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，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69925" y="2272030"/>
            <a:ext cx="586422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然后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om.xm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里引入必要的依赖包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63270" y="2717165"/>
            <a:ext cx="5419725" cy="3105150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8.3Spring Boot集成 Spring Session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669925" y="1129030"/>
            <a:ext cx="656018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新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ring B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配置文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pplication.propertie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36320" y="1609090"/>
            <a:ext cx="2857500" cy="1600200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8.3Spring Boot集成 Spring Session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69925" y="1078230"/>
            <a:ext cx="2603500" cy="55308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2000" dirty="0">
                <a:solidFill>
                  <a:srgbClr val="002060"/>
                </a:solidFill>
                <a:sym typeface="+mn-ea"/>
              </a:rPr>
              <a:t>创建配置类和控制器</a:t>
            </a:r>
            <a:endParaRPr lang="en-US" altLang="zh-CN" sz="2000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669925" y="1631315"/>
            <a:ext cx="1067181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新建配置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HttpSessionConfiguration.java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本案例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RedisHttpSessionConfigurat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.jav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，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70255" y="2327275"/>
            <a:ext cx="5429250" cy="2181225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770255" y="4559300"/>
            <a:ext cx="10648950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配置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SessionConfig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@Configurat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注解表明这是一个配置类。在这个类也添加注解</a:t>
            </a:r>
            <a:r>
              <a:rPr lang="en-US" altLang="zh-CN" dirty="0">
                <a:solidFill>
                  <a:srgbClr val="0000FF"/>
                </a:solidFill>
                <a:sym typeface="+mn-ea"/>
              </a:rPr>
              <a:t>@EnableRedisHttpSess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表示开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ss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管理。如果需要设置会话失效时间可以使用</a:t>
            </a:r>
            <a:r>
              <a:rPr lang="en-US" altLang="zh-CN" dirty="0">
                <a:solidFill>
                  <a:srgbClr val="0000FF"/>
                </a:solidFill>
                <a:sym typeface="+mn-ea"/>
              </a:rPr>
              <a:t>@EnableRedisHttpSession(maxInactiveIntervalInSeconds = </a:t>
            </a:r>
            <a:r>
              <a:rPr lang="en-US" altLang="zh-CN" dirty="0">
                <a:solidFill>
                  <a:srgbClr val="0000FF"/>
                </a:solidFill>
                <a:sym typeface="+mn-ea"/>
              </a:rPr>
              <a:t>60</a:t>
            </a:r>
            <a:r>
              <a:rPr lang="en-US" altLang="zh-CN" dirty="0">
                <a:solidFill>
                  <a:srgbClr val="0000FF"/>
                </a:solidFill>
                <a:sym typeface="+mn-ea"/>
              </a:rPr>
              <a:t>)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表示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6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0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秒后会话失效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 fontScale="90000"/>
          </a:bodyPr>
          <a:lstStyle/>
          <a:p>
            <a:br>
              <a:rPr lang="en-US" altLang="zh-CN" sz="4800" dirty="0"/>
            </a:br>
            <a:r>
              <a:rPr sz="4800">
                <a:sym typeface="+mn-ea"/>
              </a:rPr>
              <a:t>第</a:t>
            </a:r>
            <a:r>
              <a:rPr lang="zh-CN" sz="4800">
                <a:sym typeface="+mn-ea"/>
              </a:rPr>
              <a:t>七</a:t>
            </a:r>
            <a:r>
              <a:rPr sz="4800">
                <a:sym typeface="+mn-ea"/>
              </a:rPr>
              <a:t>章 </a:t>
            </a:r>
            <a:br>
              <a:rPr sz="4800">
                <a:sym typeface="+mn-ea"/>
              </a:rPr>
            </a:br>
            <a:r>
              <a:rPr sz="4800" smtClean="0">
                <a:latin typeface="微软雅黑 (正文)"/>
                <a:sym typeface="+mn-ea"/>
              </a:rPr>
              <a:t>Spring Boot</a:t>
            </a:r>
            <a:br>
              <a:rPr sz="4800" smtClean="0">
                <a:latin typeface="微软雅黑 (正文)"/>
                <a:sym typeface="+mn-ea"/>
              </a:rPr>
            </a:br>
            <a:r>
              <a:rPr sz="4800" smtClean="0">
                <a:latin typeface="微软雅黑 (正文)"/>
                <a:sym typeface="+mn-ea"/>
              </a:rPr>
              <a:t>与Redis整合与应用</a:t>
            </a:r>
            <a:br>
              <a:rPr lang="zh-CN" altLang="en-US" sz="4800" b="0" dirty="0" smtClean="0">
                <a:solidFill>
                  <a:srgbClr val="000000"/>
                </a:solidFill>
                <a:latin typeface="微软雅黑 (正文)"/>
                <a:ea typeface="华文楷体" panose="02010600040101010101" charset="-122"/>
                <a:cs typeface="华文楷体" panose="02010600040101010101" charset="-122"/>
              </a:rPr>
            </a:br>
            <a:endParaRPr sz="4800">
              <a:sym typeface="+mn-ea"/>
            </a:endParaRPr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328773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17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r>
              <a:rPr lang="zh-CN" altLang="en-US" b="1" dirty="0" smtClean="0">
                <a:solidFill>
                  <a:schemeClr val="tx1"/>
                </a:solidFill>
              </a:rPr>
              <a:t>        </a:t>
            </a:r>
            <a:r>
              <a:rPr lang="zh-CN" altLang="en-US" b="1" dirty="0">
                <a:solidFill>
                  <a:schemeClr val="tx1"/>
                </a:solidFill>
              </a:rPr>
              <a:t>主审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3044" y="799845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8.3Spring Boot集成 Spring Session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669925" y="1103630"/>
            <a:ext cx="1104138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新建用户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U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r.jav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用户类只有两个属性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u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rnam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ssword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保存登录的用户的用户名和密码。本案例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U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.jav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，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26770" y="1748790"/>
            <a:ext cx="4473575" cy="4301490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5975350" y="1748790"/>
            <a:ext cx="5736590" cy="175323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新建控制器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ssionController.jav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在这个类中定义了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2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个方法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ogi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方法用于登录验证，当输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u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rnam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等于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xinping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ssword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等于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123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认为用户登录成功，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ss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保存用户信息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g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方法用于从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ss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获取用户信息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本案例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ssionControlle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.jav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，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3005" y="3570605"/>
            <a:ext cx="5448300" cy="180022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858000" y="5439410"/>
            <a:ext cx="1554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/>
              <a:t>接下一页</a:t>
            </a:r>
            <a:r>
              <a:rPr lang="en-US" altLang="zh-CN"/>
              <a:t>……</a:t>
            </a:r>
            <a:endParaRPr lang="en-US" altLang="zh-CN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8.3Spring Boot集成 Spring Session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9925" y="1895475"/>
            <a:ext cx="5429250" cy="382905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5070" y="2305050"/>
            <a:ext cx="5400675" cy="30099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807085" y="1259840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/>
              <a:t>接</a:t>
            </a:r>
            <a:r>
              <a:rPr lang="zh-CN" altLang="en-US"/>
              <a:t>上一页</a:t>
            </a:r>
            <a:endParaRPr lang="en-US" altLang="zh-CN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8.3Spring Boot集成 Spring Session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669925" y="1097915"/>
            <a:ext cx="2021205" cy="55308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2000" dirty="0">
                <a:solidFill>
                  <a:srgbClr val="002060"/>
                </a:solidFill>
                <a:sym typeface="+mn-ea"/>
              </a:rPr>
              <a:t>编译和部署项目</a:t>
            </a:r>
            <a:endParaRPr lang="en-US" altLang="zh-CN" sz="2000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69925" y="1651000"/>
            <a:ext cx="731012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启动项目，运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SessionDemoApplication.jav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进入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SessionDemo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所在目录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63905" y="2296160"/>
            <a:ext cx="4029075" cy="20002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669925" y="2596515"/>
            <a:ext cx="789178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mvn clean package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将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SessionDemo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打成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3905" y="3005455"/>
            <a:ext cx="4610100" cy="219075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69925" y="3265170"/>
            <a:ext cx="826262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SessionDemo\targe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目录下获得编译好的压缩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SpringSessionDemo-0.0.1-SNAPSHOT.j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63" name="图片 26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3905" y="3933825"/>
            <a:ext cx="5274310" cy="1699260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8.3Spring Boot集成 Spring Session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69925" y="1047750"/>
            <a:ext cx="1052576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使用以下命令分别以两个不同的端口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(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8081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8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082)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启动两个项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,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用于模拟分布式应用中的两个服务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44245" y="1416050"/>
            <a:ext cx="4924425" cy="371475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798830" y="1863090"/>
            <a:ext cx="269303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启动项目，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64" name="图片 26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4245" y="2231073"/>
            <a:ext cx="5234940" cy="277939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672590" y="5084445"/>
            <a:ext cx="3007995" cy="3067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zh-CN" sz="1400" b="0">
                <a:ea typeface="宋体" panose="02010600030101010101" pitchFamily="2" charset="-122"/>
              </a:rPr>
              <a:t>以两个端口分别启动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Spring Boot</a:t>
            </a:r>
            <a:r>
              <a:rPr lang="zh-CN" sz="1400" b="0">
                <a:ea typeface="宋体" panose="02010600030101010101" pitchFamily="2" charset="-122"/>
              </a:rPr>
              <a:t>项目</a:t>
            </a:r>
            <a:endParaRPr lang="zh-CN" altLang="en-US" sz="1400" b="0">
              <a:ea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集成 Spring Session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669925" y="1077595"/>
            <a:ext cx="10401935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00FF"/>
                </a:solidFill>
                <a:sym typeface="+mn-ea"/>
              </a:rPr>
              <a:t>    </a:t>
            </a:r>
            <a:r>
              <a:rPr lang="en-US" altLang="zh-CN" dirty="0">
                <a:solidFill>
                  <a:srgbClr val="0000FF"/>
                </a:solidFill>
                <a:sym typeface="+mn-ea"/>
              </a:rPr>
              <a:t>第一步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访问地址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http://127.0.0.1:8081/session/login?username=xinping&amp;password=123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第一次访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UR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地址端口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808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1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B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时模拟用户登录，在浏览器中访问这个请求后的结果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8" name="图片 1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585085" y="1727835"/>
            <a:ext cx="5274310" cy="626110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747395" y="2414270"/>
            <a:ext cx="10325100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访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可以看出有一个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k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y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“spring:session:sessions:ddf10226-8ffe-4294-ab93-7a461535f8ed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，这个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k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y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含了页面中显示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ssionId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值，说明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s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已经成功保存到了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，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28" name="图片 2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1890" y="3115945"/>
            <a:ext cx="5274310" cy="62611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746760" y="3880485"/>
            <a:ext cx="10325100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00FF"/>
                </a:solidFill>
                <a:sym typeface="+mn-ea"/>
              </a:rPr>
              <a:t>    </a:t>
            </a:r>
            <a:r>
              <a:rPr lang="en-US" altLang="zh-CN" dirty="0">
                <a:solidFill>
                  <a:srgbClr val="0000FF"/>
                </a:solidFill>
                <a:sym typeface="+mn-ea"/>
              </a:rPr>
              <a:t>第二步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访问地址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http://127.0.0.1:8082/session/get?username=xinping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第二次访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UR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地址端口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808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2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pringB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时模用于获取登录的用户信息，在浏览器中访问这个请求后的结果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56" name="图片 15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2705" y="4612005"/>
            <a:ext cx="5274310" cy="54991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844550" y="5149850"/>
            <a:ext cx="10227945" cy="119888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chemeClr val="tx1"/>
                </a:solidFill>
                <a:sym typeface="+mn-ea"/>
              </a:rPr>
              <a:t>    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可以看出成功获得了保存在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R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edis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中的用户名为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x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inping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的用户信息，并且两次请求的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s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essionId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是相同的，实现了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s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ession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的共享。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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    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通过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SpringBoot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使用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 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Redis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来实现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s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ession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的共享很方便，在配合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N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ginx</a:t>
            </a:r>
            <a:r>
              <a:rPr lang="en-US" altLang="zh-CN" dirty="0">
                <a:solidFill>
                  <a:schemeClr val="tx1"/>
                </a:solidFill>
                <a:sym typeface="+mn-ea"/>
              </a:rPr>
              <a:t>进行负载均衡，便能实现分布式的应用了。</a:t>
            </a:r>
            <a:endParaRPr lang="en-US" altLang="zh-CN" dirty="0">
              <a:solidFill>
                <a:schemeClr val="tx1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895761" y="2739021"/>
            <a:ext cx="6536871" cy="2390427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学 习 进 步 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: 圆角 13"/>
          <p:cNvSpPr/>
          <p:nvPr/>
        </p:nvSpPr>
        <p:spPr>
          <a:xfrm>
            <a:off x="744076" y="6241020"/>
            <a:ext cx="4366476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作者</a:t>
            </a:r>
            <a:r>
              <a:rPr lang="zh-CN" altLang="en-US" b="1" dirty="0" smtClean="0">
                <a:solidFill>
                  <a:schemeClr val="tx1"/>
                </a:solidFill>
              </a:rPr>
              <a:t>：张云河、王硕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905580" y="602297"/>
            <a:ext cx="5373587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》</a:t>
            </a:r>
            <a:r>
              <a:rPr lang="zh-CN" altLang="en-US" sz="2200" b="1" dirty="0" smtClean="0">
                <a:solidFill>
                  <a:schemeClr val="accent2"/>
                </a:solidFill>
                <a:sym typeface="+mn-ea"/>
              </a:rPr>
              <a:t>最新版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6400" y="522760"/>
            <a:ext cx="527050" cy="52705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2240" y="1211016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874075" y="252740"/>
            <a:ext cx="35189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chemeClr val="bg1"/>
                </a:solidFill>
              </a:rPr>
              <a:t>第</a:t>
            </a:r>
            <a:r>
              <a:rPr lang="en-US" altLang="zh-CN" sz="2800" b="1" dirty="0" smtClean="0">
                <a:solidFill>
                  <a:schemeClr val="bg1"/>
                </a:solidFill>
              </a:rPr>
              <a:t>5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章</a:t>
            </a:r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的持久化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</p:nvPr>
        </p:nvGraphicFramePr>
        <p:xfrm>
          <a:off x="462431" y="1634204"/>
          <a:ext cx="4173963" cy="474255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105"/>
                <a:gridCol w="2952858"/>
              </a:tblGrid>
              <a:tr h="375974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b="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初始</a:t>
                      </a:r>
                      <a:r>
                        <a:rPr lang="en-US" altLang="zh-CN" sz="2000" b="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endParaRPr lang="en-US" altLang="zh-CN" sz="2000" b="0" dirty="0" err="1" smtClean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第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2章</a:t>
                      </a:r>
                      <a:endParaRPr lang="en-US" altLang="en-US" sz="200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0" kern="120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r>
                        <a:rPr lang="zh-CN" alt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常用数据类型</a:t>
                      </a:r>
                      <a:endParaRPr lang="zh-CN" altLang="en-US" sz="2000" b="0" kern="1200" dirty="0" smtClean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常用命令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高级主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第</a:t>
                      </a: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5章</a:t>
                      </a:r>
                      <a:endParaRPr lang="en-US" altLang="en-US" sz="2000" b="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0" kern="120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r>
                        <a:rPr lang="zh-CN" alt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缓存的持久化</a:t>
                      </a:r>
                      <a:endParaRPr lang="zh-CN" altLang="en-US" sz="2000" b="0" kern="1200" dirty="0" smtClean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集群环境部署</a:t>
                      </a:r>
                      <a:endParaRPr lang="zh-CN" altLang="en-US" sz="2000" b="0" dirty="0" smtClean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开发与实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573824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smtClean="0">
                          <a:latin typeface="微软雅黑 (正文)"/>
                        </a:rPr>
                        <a:t>Spring Boot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与</a:t>
                      </a: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整合应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监控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10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的缓存设计与优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751395">
                <a:tc gridSpan="2"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 hMerge="1">
                  <a:tcPr marL="98738" marR="98738" marT="0" marB="0" anchor="ctr"/>
                </a:tc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6735445" y="1991995"/>
            <a:ext cx="4810760" cy="1198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755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zh-CN" altLang="en-US" sz="3600" dirty="0" smtClean="0">
                <a:solidFill>
                  <a:srgbClr val="000000"/>
                </a:solidFill>
              </a:rPr>
              <a:t>第</a:t>
            </a:r>
            <a:r>
              <a:rPr lang="en-US" altLang="zh-CN" sz="3600" dirty="0" smtClean="0">
                <a:solidFill>
                  <a:srgbClr val="000000"/>
                </a:solidFill>
              </a:rPr>
              <a:t>8</a:t>
            </a:r>
            <a:r>
              <a:rPr lang="zh-CN" altLang="en-US" sz="3600" dirty="0" smtClean="0">
                <a:solidFill>
                  <a:srgbClr val="000000"/>
                </a:solidFill>
              </a:rPr>
              <a:t>章 </a:t>
            </a:r>
            <a:r>
              <a:rPr lang="en-US" altLang="zh-CN" sz="3600" dirty="0" smtClean="0">
                <a:latin typeface="微软雅黑 (正文)"/>
                <a:sym typeface="+mn-ea"/>
              </a:rPr>
              <a:t>Spring Boot</a:t>
            </a:r>
            <a:r>
              <a:rPr lang="zh-CN" altLang="en-US" sz="3600" dirty="0" smtClean="0">
                <a:latin typeface="微软雅黑 (正文)"/>
                <a:sym typeface="+mn-ea"/>
              </a:rPr>
              <a:t>与</a:t>
            </a:r>
            <a:r>
              <a:rPr lang="en-US" altLang="zh-CN" sz="3600" dirty="0" err="1" smtClean="0">
                <a:latin typeface="微软雅黑 (正文)"/>
                <a:sym typeface="+mn-ea"/>
              </a:rPr>
              <a:t>Redis</a:t>
            </a:r>
            <a:r>
              <a:rPr lang="zh-CN" altLang="en-US" sz="3600" dirty="0" smtClean="0">
                <a:latin typeface="微软雅黑 (正文)"/>
                <a:sym typeface="+mn-ea"/>
              </a:rPr>
              <a:t>整合应用</a:t>
            </a:r>
            <a:endParaRPr lang="zh-CN" altLang="en-US" sz="3600" dirty="0" smtClean="0">
              <a:solidFill>
                <a:srgbClr val="000000"/>
              </a:solidFill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***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>
                <a:solidFill>
                  <a:srgbClr val="002060"/>
                </a:solidFill>
              </a:rPr>
              <a:t>： ***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556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2649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41048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696720" y="1564640"/>
            <a:ext cx="4527550" cy="829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Spring Boot 项目搭建与Redis结合与应用</a:t>
            </a:r>
            <a:endParaRPr lang="zh-CN" altLang="en-US" sz="2400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696720" y="2959735"/>
            <a:ext cx="4025900" cy="46037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RedisTemplate API详解</a:t>
            </a:r>
            <a:endParaRPr lang="zh-CN" altLang="en-US" sz="2400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1696720" y="4443095"/>
            <a:ext cx="4025265" cy="829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Spring Boot集成 Spring Session</a:t>
            </a:r>
            <a:endParaRPr lang="zh-CN" altLang="en-US" sz="2400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669925" y="1098550"/>
            <a:ext cx="5738495" cy="46037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Spring Boot 项目搭建与Redis结合与应用</a:t>
            </a:r>
            <a:endParaRPr lang="zh-CN" altLang="en-US" sz="2400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669925" y="1558925"/>
            <a:ext cx="196786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zh-CN" altLang="en-US" dirty="0">
                <a:solidFill>
                  <a:srgbClr val="002060"/>
                </a:solidFill>
                <a:sym typeface="+mn-ea"/>
              </a:rPr>
              <a:t>Spring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 Boot 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简介</a:t>
            </a:r>
            <a:endParaRPr lang="zh-CN" altLang="en-US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669925" y="1927225"/>
            <a:ext cx="10763885" cy="119888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  </a:t>
            </a: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微服务</a:t>
            </a: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是一种</a:t>
            </a: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架构风格</a:t>
            </a: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，</a:t>
            </a: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是一种使用一套</a:t>
            </a: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微</a:t>
            </a: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小服务来开发单个应用的方式途径，每个服务运行在自己的进程中，通过轻量的通讯机制联系，经常是基于</a:t>
            </a: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HTTP</a:t>
            </a: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资源</a:t>
            </a: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API</a:t>
            </a: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，这些服务基于业务能力构建，能够通过自动化部署方式独立部署。</a:t>
            </a: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微服务，简单的说就是将一个大服务（项目）划分为多个子（服务）项目，如下图所示。</a:t>
            </a:r>
            <a:endParaRPr lang="zh-CN" altLang="en-US" sz="1600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1" cstate="print"/>
          <a:srcRect/>
          <a:stretch>
            <a:fillRect/>
          </a:stretch>
        </p:blipFill>
        <p:spPr>
          <a:xfrm>
            <a:off x="3528060" y="3126105"/>
            <a:ext cx="3752850" cy="172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矩形 8"/>
          <p:cNvSpPr/>
          <p:nvPr/>
        </p:nvSpPr>
        <p:spPr>
          <a:xfrm>
            <a:off x="669925" y="4920615"/>
            <a:ext cx="10763885" cy="119888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  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从上图可以看出微服务的好处，每个微服务组件都是简单灵活的，能够独立部署。微服务应用不需要一个庞大的应用服务器来支撑。微服务之间是松耦合的，内部是高内聚的，每个微服务很容易按需扩展。微服务架构与语言工具无关，可以自由选择合适的语言和工具，高效的完成业务目标。</a:t>
            </a:r>
            <a:endParaRPr lang="en-US" altLang="zh-CN" sz="1600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54050" y="1858645"/>
            <a:ext cx="10883900" cy="119888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  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ring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Boot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是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ring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的一套快速配置脚手架，可以基于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ring Boot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快速开发单个微服务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，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irng Boot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本身并不提供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ring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框架的核心特性以及扩展功能，只是用于快速、敏捷地开发新一代基于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ring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框架的应用程序，如下图所示。也就是说，它并不是用来替代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ring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的解决方案，而是和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ring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框架紧密结合用于提升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ring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开发者体验的工具。</a:t>
            </a:r>
            <a:endParaRPr lang="en-US" altLang="zh-CN" sz="1600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69925" y="3641090"/>
            <a:ext cx="10883900" cy="156845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  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ring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Boot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在开发过程中大量使用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“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约定优先配置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的思想来摆脱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ring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框架中各类繁复纷杂的配置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。采用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ring Boot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可以大大的简化开发模式，同时它集成了大量常用的第三方库配置（例如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Redis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、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MongoDB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、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Jpa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、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RabbitMQ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、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Quartz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等等），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ring Boot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应用中这些第三方库几乎可以零配置的开箱即用，大部分的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ring Boot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应用都只需要非常少量的配置代码，开发者能够更加专注于业务逻辑。</a:t>
            </a:r>
            <a:endParaRPr lang="en-US" altLang="zh-CN" sz="1600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pic>
        <p:nvPicPr>
          <p:cNvPr id="88" name="图片 8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99235" y="2236470"/>
            <a:ext cx="2133600" cy="2385060"/>
          </a:xfrm>
          <a:prstGeom prst="rect">
            <a:avLst/>
          </a:prstGeom>
        </p:spPr>
      </p:pic>
      <p:sp>
        <p:nvSpPr>
          <p:cNvPr id="100" name="矩形 99"/>
          <p:cNvSpPr/>
          <p:nvPr/>
        </p:nvSpPr>
        <p:spPr>
          <a:xfrm>
            <a:off x="4027170" y="2236470"/>
            <a:ext cx="7220585" cy="230695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   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ring Boo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t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不等于微服务，它只是一套开源框架，跟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SM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（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pring+Struts2+MyBatis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）差不多，只是基于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ring Boo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t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来开发微服务相当方便，所以这两个词一般都是成对出现的。当我们的服务越来越多时，就可以通过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ring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Cloud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来统一管理这些服务了，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ring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C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loud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才算是真正的微服务框架，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ring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Boot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是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J2EE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一站式解决方案。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使用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SpringBoot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可以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提供微服务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开发小型的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web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项目。</a:t>
            </a:r>
            <a:endParaRPr lang="en-US" altLang="zh-CN" sz="1600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669925" y="1200785"/>
            <a:ext cx="310959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zh-CN" altLang="en-US" dirty="0">
                <a:solidFill>
                  <a:srgbClr val="002060"/>
                </a:solidFill>
                <a:sym typeface="+mn-ea"/>
              </a:rPr>
              <a:t>使用Spring Initalizr新建项目</a:t>
            </a:r>
            <a:endParaRPr lang="zh-CN" altLang="en-US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69925" y="1569085"/>
            <a:ext cx="862076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zh-CN" altLang="en-US" dirty="0">
                <a:solidFill>
                  <a:srgbClr val="002060"/>
                </a:solidFill>
                <a:sym typeface="+mn-ea"/>
              </a:rPr>
              <a:t>本节介绍在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W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indows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下使用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S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pring Boot,  Spring Boot 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依赖的开发环境如表所示。</a:t>
            </a:r>
            <a:endParaRPr lang="zh-CN" altLang="en-US" dirty="0">
              <a:solidFill>
                <a:srgbClr val="002060"/>
              </a:solidFill>
              <a:sym typeface="+mn-ea"/>
            </a:endParaRPr>
          </a:p>
        </p:txBody>
      </p:sp>
      <p:graphicFrame>
        <p:nvGraphicFramePr>
          <p:cNvPr id="3" name="表格 2"/>
          <p:cNvGraphicFramePr/>
          <p:nvPr>
            <p:custDataLst>
              <p:tags r:id="rId1"/>
            </p:custDataLst>
          </p:nvPr>
        </p:nvGraphicFramePr>
        <p:xfrm>
          <a:off x="795338" y="1937385"/>
          <a:ext cx="0" cy="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33663"/>
                <a:gridCol w="2633662"/>
              </a:tblGrid>
              <a:tr h="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操作系统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W</a:t>
                      </a:r>
                      <a:r>
                        <a:rPr lang="en-US" sz="1800" b="0">
                          <a:latin typeface="Calibri" panose="020F0502020204030204" charset="0"/>
                          <a:cs typeface="Calibri" panose="020F0502020204030204" charset="0"/>
                        </a:rPr>
                        <a:t>indows 10 64</a:t>
                      </a: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位平台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JDK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</a:t>
                      </a:r>
                      <a:r>
                        <a:rPr lang="en-US" sz="1800" b="0">
                          <a:latin typeface="Calibri" panose="020F0502020204030204" charset="0"/>
                          <a:cs typeface="Calibri" panose="020F0502020204030204" charset="0"/>
                        </a:rPr>
                        <a:t>.8</a:t>
                      </a:r>
                      <a:endParaRPr lang="en-US" altLang="en-US" sz="18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</a:t>
                      </a:r>
                      <a:r>
                        <a:rPr lang="en-US" sz="1800" b="0">
                          <a:latin typeface="Calibri" panose="020F0502020204030204" charset="0"/>
                          <a:cs typeface="Calibri" panose="020F0502020204030204" charset="0"/>
                        </a:rPr>
                        <a:t>aven</a:t>
                      </a:r>
                      <a:endParaRPr lang="en-US" altLang="en-US" sz="18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3</a:t>
                      </a:r>
                      <a:r>
                        <a:rPr lang="en-US" sz="1800" b="0">
                          <a:latin typeface="Calibri" panose="020F0502020204030204" charset="0"/>
                          <a:cs typeface="Calibri" panose="020F0502020204030204" charset="0"/>
                        </a:rPr>
                        <a:t>.6.0</a:t>
                      </a:r>
                      <a:endParaRPr lang="en-US" altLang="en-US" sz="18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矩形 3"/>
          <p:cNvSpPr/>
          <p:nvPr/>
        </p:nvSpPr>
        <p:spPr>
          <a:xfrm>
            <a:off x="669925" y="2905760"/>
            <a:ext cx="1076134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  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本案例文件名为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”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Redis\Chapter0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8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\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springbootDemo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”，新建一个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S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pring Boot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项目，可以使用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S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pring Initalizr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方式，这种方式很简单，通过在线网页设置项目的选项，自动生成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S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pring Boot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项目。</a:t>
            </a:r>
            <a:endParaRPr lang="zh-CN" altLang="en-US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665480" y="3830955"/>
            <a:ext cx="5527675" cy="175323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  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首先在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 http://start.spring.io/  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上创建一个简单的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SpringBoot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应用。类型为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Maven Project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、开发语言为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J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ava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和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Spring Boot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版本为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2.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2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.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0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M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6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，以及填写项目的基本信息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Gr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oup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和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Artifact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，如下图所示。最后点击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”Generate the Project”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按钮下载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springbootDemo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.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zip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压缩包。</a:t>
            </a:r>
            <a:endParaRPr lang="zh-CN" altLang="en-US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13" name="图片 1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74765" y="3633470"/>
            <a:ext cx="3589655" cy="2915285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A6S0wzOvQ8a50SA42PUNRg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KSO_WM_UNIT_TABLE_BEAUTIFY" val="smartTable{58a06314-7e72-4d48-85a8-7253ed818c17}"/>
</p:tagLst>
</file>

<file path=ppt/tags/tag4.xml><?xml version="1.0" encoding="utf-8"?>
<p:tagLst xmlns:p="http://schemas.openxmlformats.org/presentationml/2006/main">
  <p:tag name="KSO_WM_UNIT_TABLE_BEAUTIFY" val="smartTable{e65c5f68-e392-4a6d-9126-92561a6eb973}"/>
</p:tagLst>
</file>

<file path=ppt/tags/tag5.xml><?xml version="1.0" encoding="utf-8"?>
<p:tagLst xmlns:p="http://schemas.openxmlformats.org/presentationml/2006/main">
  <p:tag name="THINKCELLSHAPEDONOTDELETE" val="t1Smkff3fSzGMOuItfjj3Fw"/>
</p:tagLst>
</file>

<file path=ppt/tags/tag6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8780</Words>
  <Application>WPS 演示</Application>
  <PresentationFormat>宽屏</PresentationFormat>
  <Paragraphs>347</Paragraphs>
  <Slides>35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5</vt:i4>
      </vt:variant>
    </vt:vector>
  </HeadingPairs>
  <TitlesOfParts>
    <vt:vector size="50" baseType="lpstr">
      <vt:lpstr>Arial</vt:lpstr>
      <vt:lpstr>宋体</vt:lpstr>
      <vt:lpstr>Wingdings</vt:lpstr>
      <vt:lpstr>微软雅黑</vt:lpstr>
      <vt:lpstr>Times New Roman</vt:lpstr>
      <vt:lpstr>微软雅黑 (正文)</vt:lpstr>
      <vt:lpstr>黑体</vt:lpstr>
      <vt:lpstr>华文楷体</vt:lpstr>
      <vt:lpstr>Calibri</vt:lpstr>
      <vt:lpstr>Cambria</vt:lpstr>
      <vt:lpstr>Arial Unicode MS</vt:lpstr>
      <vt:lpstr>Wingdings</vt:lpstr>
      <vt:lpstr>Microsoft YaHei UI</vt:lpstr>
      <vt:lpstr>Consolas</vt:lpstr>
      <vt:lpstr>主题5</vt:lpstr>
      <vt:lpstr>Redis 6 开发与实战</vt:lpstr>
      <vt:lpstr>PowerPoint 演示文稿</vt:lpstr>
      <vt:lpstr> 第七章 Redis开发与实战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学 习 进 步 ！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北京兄弟</cp:lastModifiedBy>
  <cp:revision>204</cp:revision>
  <cp:lastPrinted>2021-11-30T03:01:00Z</cp:lastPrinted>
  <dcterms:created xsi:type="dcterms:W3CDTF">2021-11-30T03:01:00Z</dcterms:created>
  <dcterms:modified xsi:type="dcterms:W3CDTF">2022-03-14T12:1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